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23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1D4D00-3645-8D6A-F4D5-14BE4DEAE4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69FD8B4-10B1-344D-8C06-B658B5E417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769540E-45E0-664B-4D43-F58B2C870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820245-C497-6C0E-F0BB-72F10FE16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3B71CDE-93EE-D92F-B945-199D5CAC0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40350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1961B7-C67A-A5A2-3A7E-B5F6B33BA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A665F0A-F322-E17E-DB00-1E45BB2163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849C72-644D-4F0E-6520-56BDA6199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47B7DF6-845E-1364-C7B8-2CFC95E78C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ED610D6-62A8-5804-4863-CE26EBDAE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556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32EB163-EE41-18D4-6839-D3C53B599F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BCBB535-3CF4-D5B4-32E7-3A35298B6B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5A13D1-2DF6-657B-D71C-D18E3F40A5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3325CA-E113-8085-5878-BE80DD5920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3E781C-B1C4-6632-74F1-F5E7C00A3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276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C8062C-CEA0-0953-ACCB-BD8C4656E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7CE750-96F8-3EB1-EE83-06D4145F03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8DC3B2-5AE1-C0EF-F3E7-72D83E0F3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2E4BAEA-A50C-6E27-0343-162BCFB40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164B70-244F-75C2-FFEE-BEA3E1CAE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93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A11CCD-A38E-FFAD-A99A-43CAE35CB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A0CE0FA-1411-818F-8A06-C975B4FE04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C3A054-C4B8-6559-F1A4-24B9DC0BA1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6ED068-2CDE-9B8F-1E0E-79F8E9523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3F6F35-BA6D-4BFB-02C3-F6DF735296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757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C46109-5305-70A3-6157-3A4D08213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7B98B9-38A2-970F-430D-5A234EB20A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63D8ED-25B7-EF99-6EE0-91475A950A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56DAC6A-A04F-3EBD-B82C-0E83DA2873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4267C7D-F025-017A-EF4F-D58DC62B7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9F4EFFD-A919-E8F8-3036-62C746DFF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239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FAE039-38A8-9F71-AEDC-7F5D266B5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7DF133-0C9E-D3F6-3367-7B48ECE7CE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47911C7-8A21-A3C2-F163-D5DEDD2441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7C779F4-6E1B-16B1-656E-086819CB83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7D02033-E691-FBA3-B4B2-5348CC1C19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A866505-7D22-2FA5-6F9C-A23547822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E2923FD-3F95-4356-1705-814715332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21364D-8C83-30D1-9BD0-897E343D8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9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A5E0DF-FD88-053E-419F-47C9E262B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1CB9114-B339-56D4-BBC0-4719FC647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9E37C33-F092-9251-69E0-5E29AF0A86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1EA5E9-E037-6477-4CC6-046B19257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034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AF4FB24-53C6-3482-80BF-30543CCFB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0177F8-4AD2-A962-392D-ADA24F8CB3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6A908F-FA96-396C-792F-EE64D7370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513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93D0BB-7ED1-9A12-6E14-3D68BC2D8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8208311-1053-78A7-130E-752B510C03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E582155-473E-9D13-A077-7AF8431D3B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20D2B9-1CCC-314A-3045-F870FC2FB2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90C5F2B-D96C-0F16-7CC2-D4FD5D448E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2B3056C-D5B9-A15A-1D4D-70E8A9769C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5699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D0AA7A-09B3-28DC-4A16-D18DC9C8FA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10942F8-1EE9-A519-2F53-F2B7D626CF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44BF5AB-1965-12D4-E345-88A3447C36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1A2D748-2A5B-0C71-29A5-80175FD58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ACFE5A-A435-A46B-3600-2E287F2523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02365B6-41D5-0402-1DFD-7277A6C8D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344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8C19F5-BE7D-4F18-B7B2-230C5087A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3147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73" imgH="473" progId="TCLayout.ActiveDocument.1">
                  <p:embed/>
                </p:oleObj>
              </mc:Choice>
              <mc:Fallback>
                <p:oleObj name="think-cell Foli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6AB1AD1-A722-3D80-7C92-E3075DA2A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C5E9EEB-E10D-5527-4EEE-E006DB84D8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56E576D-B13E-F38F-995E-E6126AFD6A0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978C30-C34A-4DE4-BB48-0A6B1F0C05E7}" type="datetimeFigureOut">
              <a:rPr lang="en-US" smtClean="0"/>
              <a:t>5/2/2023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2DF8301-D04D-F087-0825-816D450155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19922F4-F60B-60B0-D081-193F9D8E44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C62AF6-A532-43FD-BC4D-7B61D4CB30B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902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tmp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E27F96B-40FB-BD62-1699-0E978AD5A3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488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B9985B58-5C9A-7C18-861D-6CAB2054B8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077" y="710267"/>
            <a:ext cx="4306621" cy="506606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50609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Breitbild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user</dc:creator>
  <cp:lastModifiedBy>user</cp:lastModifiedBy>
  <cp:revision>3</cp:revision>
  <dcterms:created xsi:type="dcterms:W3CDTF">2023-05-02T10:33:27Z</dcterms:created>
  <dcterms:modified xsi:type="dcterms:W3CDTF">2023-05-02T10:36:32Z</dcterms:modified>
</cp:coreProperties>
</file>